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13"/>
  </p:notesMasterIdLst>
  <p:handoutMasterIdLst>
    <p:handoutMasterId r:id="rId14"/>
  </p:handoutMasterIdLst>
  <p:sldIdLst>
    <p:sldId id="256" r:id="rId4"/>
    <p:sldId id="321" r:id="rId5"/>
    <p:sldId id="346" r:id="rId6"/>
    <p:sldId id="344" r:id="rId7"/>
    <p:sldId id="353" r:id="rId8"/>
    <p:sldId id="349" r:id="rId9"/>
    <p:sldId id="350" r:id="rId10"/>
    <p:sldId id="351" r:id="rId11"/>
    <p:sldId id="352" r:id="rId12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>
        <p:scale>
          <a:sx n="68" d="100"/>
          <a:sy n="68" d="100"/>
        </p:scale>
        <p:origin x="-528" y="30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o Brandao" userId="98fd82832e5e8854" providerId="LiveId" clId="{4A275135-4C01-4FCA-B794-9C2DE9918CC3}"/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Fernando Brandao" userId="98fd82832e5e8854" providerId="LiveId" clId="{34A35D82-E50D-40C5-AE13-6F86E0B975D0}"/>
  </pc:docChgLst>
  <pc:docChgLst>
    <pc:chgData name="Fernando Brandao" userId="98fd82832e5e8854" providerId="LiveId" clId="{DB6130DC-7DFE-4F49-9E2C-C5F1B20DDDB1}"/>
  </pc:docChgLst>
  <pc:docChgLst>
    <pc:chgData name="Fernando Brandao" userId="98fd82832e5e8854" providerId="LiveId" clId="{5BC8178E-F97A-43B8-B01C-B7A69C6AA1DE}"/>
  </pc:docChgLst>
  <pc:docChgLst>
    <pc:chgData name="Fernando Brandao" userId="98fd82832e5e8854" providerId="LiveId" clId="{4778F66F-A0C7-4DEB-9192-4251172539FB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24/10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62801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24/10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1378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0764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760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8373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5565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4 - ILLUMY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nca Barranco 01191072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no Almeida 0119109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sio Pereira 0119103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lherme Mingardi 01191056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stavo Machado 01191058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as Abreu 01191094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Novos)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ontar um PPT com os seguintes slides.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oco: Planejamento/Gestão do Tempo, Execução, Metodologia de Trabalho, Riscos/Imprevistos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s itens socioemocionais serão trabalhados pel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Profª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Vera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91363" y="2277681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andos </a:t>
            </a:r>
            <a:r>
              <a:rPr lang="pt-BR" sz="1544" dirty="0" err="1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werShell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824931" y="3722304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rnet da faculdad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18165" y="1988618"/>
            <a:ext cx="1712743" cy="95867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artão Amarel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tótipo da inovação funcionand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 do projeto na Sprint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289846" y="3408718"/>
            <a:ext cx="1712743" cy="95867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deríamos melhorar o foc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</a:t>
            </a:r>
            <a:r>
              <a:rPr lang="pt-BR" sz="3087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LANO DE AÇÃO</a:t>
            </a:r>
            <a:endParaRPr lang="pt-BR" sz="3087" dirty="0">
              <a:solidFill>
                <a:schemeClr val="tx1">
                  <a:lumMod val="75000"/>
                  <a:lumOff val="2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91363" y="2277681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andos </a:t>
            </a:r>
            <a:r>
              <a:rPr lang="pt-BR" sz="1544" dirty="0" err="1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werShell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824931" y="3722304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rnet da faculdad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09307" y="1947969"/>
            <a:ext cx="1712743" cy="95867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artão Amarel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tótipo da inovação funcionand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624337" y="476426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 do projeto na Sprint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403052" y="5825444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674266" y="3438139"/>
            <a:ext cx="1712743" cy="95867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deríamos melhorar o foc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70004" y="1692399"/>
            <a:ext cx="1727135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ofundamento em pesquisa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72685" y="4465964"/>
            <a:ext cx="1727135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aciência/ abrir chamad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810699" y="2762749"/>
            <a:ext cx="1727135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erfeiçoar o foco do grup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273820" y="1761167"/>
            <a:ext cx="1856367" cy="867336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desenvolvimento e aprimorar a inovaçã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62100" y="3685780"/>
            <a:ext cx="1727135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boa convivência do grup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403052" y="4465964"/>
            <a:ext cx="1727135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s ensaios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=""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497919" y="6436722"/>
            <a:ext cx="2001584" cy="96621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vontade em atingir os nossos objetivos no proje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976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=""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Planejamento/ Gestão do temp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Criação de horários comuns para chegada do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integrante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Horário mínimo de permanência no </a:t>
            </a:r>
            <a:r>
              <a:rPr lang="pt-BR" sz="2400" dirty="0" err="1" smtClean="0">
                <a:solidFill>
                  <a:srgbClr val="253746"/>
                </a:solidFill>
                <a:latin typeface="Simplon BP Regular"/>
              </a:rPr>
              <a:t>OpenLab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o </a:t>
            </a:r>
            <a:r>
              <a:rPr lang="pt-BR" sz="2400" dirty="0" err="1" smtClean="0">
                <a:solidFill>
                  <a:srgbClr val="253746"/>
                </a:solidFill>
                <a:latin typeface="Simplon BP Regular"/>
              </a:rPr>
              <a:t>Planner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err="1" smtClean="0">
                <a:solidFill>
                  <a:srgbClr val="253746"/>
                </a:solidFill>
                <a:latin typeface="Simplon BP Regular"/>
              </a:rPr>
              <a:t>WhatsApp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 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para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comunicação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oogle Drive para documentaçã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temporária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itHub para envio todos os arquivos d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projeto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2050" name="Picture 2" descr="Resultado de imagem para tempo png">
            <a:extLst>
              <a:ext uri="{FF2B5EF4-FFF2-40B4-BE49-F238E27FC236}">
                <a16:creationId xmlns="" xmlns:a16="http://schemas.microsoft.com/office/drawing/2014/main" id="{DF86C165-D545-467E-844B-E83EB207F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2478385"/>
            <a:ext cx="3268784" cy="2195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392883" y="5580831"/>
            <a:ext cx="74888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Obs</a:t>
            </a:r>
            <a:r>
              <a:rPr lang="pt-BR" dirty="0" smtClean="0"/>
              <a:t>: Mantivemos o mesmo planejamento da Sprint 1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1258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=""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Execuçã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672803" y="1927778"/>
            <a:ext cx="871296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Rotatividade de tarefas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Todos 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tiveram contato com todos os pontos d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projeto; </a:t>
            </a:r>
            <a:endParaRPr lang="pt-BR" sz="2400" dirty="0" smtClean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Os integrantes com mais dificuldade em assuntos específicos foram apoiados por integrantes com mais facilidade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uniõe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às 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sextas-feiras das 16h30 até 18h30 (horário mínimo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).</a:t>
            </a:r>
          </a:p>
        </p:txBody>
      </p:sp>
      <p:pic>
        <p:nvPicPr>
          <p:cNvPr id="3074" name="Picture 2" descr="Resultado de imagem para execuÃ§Ã£o png">
            <a:extLst>
              <a:ext uri="{FF2B5EF4-FFF2-40B4-BE49-F238E27FC236}">
                <a16:creationId xmlns="" xmlns:a16="http://schemas.microsoft.com/office/drawing/2014/main" id="{A985E3FE-A141-4668-8D4E-19A28CF4F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787" y="2103525"/>
            <a:ext cx="2871241" cy="287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01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=""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Metodologia de trabalh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41682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a metodologia ágil (</a:t>
            </a: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Scrum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)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Entregas semanais para pessoa com maior domínio n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assunto avaliar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visão de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tarefa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Participação coletiva na tomada de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decisõe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Feedbacks constantes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4098" name="Picture 2" descr="Imagem relacionada">
            <a:extLst>
              <a:ext uri="{FF2B5EF4-FFF2-40B4-BE49-F238E27FC236}">
                <a16:creationId xmlns="" xmlns:a16="http://schemas.microsoft.com/office/drawing/2014/main" id="{9AE64546-6C9D-4F96-A74D-C3312265E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1677763"/>
            <a:ext cx="3427008" cy="342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651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=""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iscos/Imprevist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Determinamos um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corresponsável para cada atividade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Identificamos líderes técnicos para cada tarefa os quais possuem facilidade com as mesmas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Limitamos a escolha de atividades caso o membro da equipe não tenha justificativa plausível para o atraso na entrega das tarefas individuais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5124" name="Picture 4" descr="Resultado de imagem para alert png">
            <a:extLst>
              <a:ext uri="{FF2B5EF4-FFF2-40B4-BE49-F238E27FC236}">
                <a16:creationId xmlns="" xmlns:a16="http://schemas.microsoft.com/office/drawing/2014/main" id="{629118B5-4BD8-4BCC-A67D-2C78BB0F3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5827" y="2196455"/>
            <a:ext cx="3247198" cy="241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/>
          <p:cNvSpPr txBox="1"/>
          <p:nvPr/>
        </p:nvSpPr>
        <p:spPr>
          <a:xfrm>
            <a:off x="1392883" y="5580831"/>
            <a:ext cx="74888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Obs</a:t>
            </a:r>
            <a:r>
              <a:rPr lang="pt-BR" dirty="0" smtClean="0"/>
              <a:t>: Mantivemos o mesmo planejamento da Sprint 1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73550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8</TotalTime>
  <Words>396</Words>
  <Application>Microsoft Office PowerPoint</Application>
  <PresentationFormat>Personalizar</PresentationFormat>
  <Paragraphs>88</Paragraphs>
  <Slides>9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3" baseType="lpstr"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Lg</cp:lastModifiedBy>
  <cp:revision>199</cp:revision>
  <dcterms:created xsi:type="dcterms:W3CDTF">2016-12-01T16:19:35Z</dcterms:created>
  <dcterms:modified xsi:type="dcterms:W3CDTF">2019-10-24T21:02:21Z</dcterms:modified>
</cp:coreProperties>
</file>